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</p:sldMasterIdLst>
  <p:notesMasterIdLst>
    <p:notesMasterId r:id="rId5"/>
  </p:notesMasterIdLst>
  <p:handoutMasterIdLst>
    <p:handoutMasterId r:id="rId6"/>
  </p:handoutMasterIdLst>
  <p:sldIdLst>
    <p:sldId id="311" r:id="rId2"/>
    <p:sldId id="340" r:id="rId3"/>
    <p:sldId id="341" r:id="rId4"/>
  </p:sldIdLst>
  <p:sldSz cx="9906000" cy="6858000" type="A4"/>
  <p:notesSz cx="6896100" cy="10033000"/>
  <p:custDataLst>
    <p:tags r:id="rId7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3857" autoAdjust="0"/>
  </p:normalViewPr>
  <p:slideViewPr>
    <p:cSldViewPr>
      <p:cViewPr>
        <p:scale>
          <a:sx n="80" d="100"/>
          <a:sy n="80" d="100"/>
        </p:scale>
        <p:origin x="-1284" y="-23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5/2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4" name="Picture 4" descr="http://upload.wikimedia.org/wikipedia/commons/d/d9/Arduino_ftdi_chip-1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156875"/>
            <a:ext cx="9906000" cy="5270915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2" name="Picture 4" descr="http://wallpaperest.com/wallpapers/electronic-circuit-dual-screen_159428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340710"/>
            <a:ext cx="9906000" cy="5078360"/>
          </a:xfrm>
          <a:prstGeom prst="rect">
            <a:avLst/>
          </a:prstGeom>
          <a:noFill/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7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21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4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plan.pptx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plan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plan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A_0_plan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_0_plan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6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2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A_0_plan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71" r:id="rId2"/>
    <p:sldLayoutId id="2147483970" r:id="rId3"/>
    <p:sldLayoutId id="2147483965" r:id="rId4"/>
    <p:sldLayoutId id="2147483966" r:id="rId5"/>
    <p:sldLayoutId id="2147483969" r:id="rId6"/>
    <p:sldLayoutId id="2147483964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2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457070" y="0"/>
            <a:ext cx="1928580" cy="1928580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2708900"/>
            <a:ext cx="9906000" cy="1944270"/>
          </a:xfrm>
        </p:spPr>
        <p:txBody>
          <a:bodyPr/>
          <a:lstStyle/>
          <a:p>
            <a:r>
              <a:rPr lang="pl-PL" sz="6000" b="1" dirty="0" smtClean="0"/>
              <a:t>Agenda WKS RoboCap</a:t>
            </a:r>
            <a:br>
              <a:rPr lang="pl-PL" sz="6000" b="1" dirty="0" smtClean="0"/>
            </a:br>
            <a:r>
              <a:rPr lang="pl-PL" sz="6000" b="1" dirty="0" smtClean="0"/>
              <a:t>0. podział na grupy</a:t>
            </a:r>
            <a:endParaRPr lang="en-US" sz="6000" b="1" dirty="0"/>
          </a:p>
        </p:txBody>
      </p:sp>
      <p:pic>
        <p:nvPicPr>
          <p:cNvPr id="75780" name="Picture 4" descr="http://noa-labs.com/wp-content/uploads/2013/01/Logo_Makeblock_400x4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50" y="0"/>
            <a:ext cx="1929600" cy="19296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Plan podstawowy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pla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Świat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podstawowe funkcje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Arduino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–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ćwieczenia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odeBlock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IDE – proste ćwiczenia z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Makeblock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oboty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line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 </a:t>
            </a:r>
            <a:r>
              <a:rPr lang="pl-PL" sz="2000" b="1" dirty="0" err="1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follower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Wykrywanie linii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Silniki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aca w zespołach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Zawody</a:t>
            </a: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>
                <a:latin typeface="Arial" pitchFamily="34" charset="0"/>
                <a:cs typeface="Arial" pitchFamily="34" charset="0"/>
              </a:rPr>
              <a:t>Zadania opcjonalne</a:t>
            </a: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A_0_plan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84730"/>
            <a:ext cx="8713210" cy="4752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Budujemy własny czujnik linii.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Protokół 1-wire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i </a:t>
            </a: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czujniki temperatury.</a:t>
            </a:r>
          </a:p>
          <a:p>
            <a:pPr marL="457200" indent="-457200" defTabSz="457200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Font typeface="+mj-lt"/>
              <a:buAutoNum type="arabicPeriod"/>
            </a:pPr>
            <a:r>
              <a:rPr lang="pl-PL" sz="2000" b="1" dirty="0" smtClean="0">
                <a:solidFill>
                  <a:sysClr val="windowText" lastClr="000000"/>
                </a:solidFill>
                <a:latin typeface="+mj-lt"/>
                <a:cs typeface="Courier New" pitchFamily="49" charset="0"/>
              </a:rPr>
              <a:t>Rejestr przesuwny i wyświetlaczach LED 7-segmentowy.</a:t>
            </a:r>
            <a:endParaRPr lang="pl-PL" sz="2000" b="1" dirty="0" smtClean="0">
              <a:solidFill>
                <a:sysClr val="windowText" lastClr="000000"/>
              </a:solidFill>
              <a:latin typeface="+mj-lt"/>
              <a:cs typeface="Courier New" pitchFamily="49" charset="0"/>
            </a:endParaRPr>
          </a:p>
        </p:txBody>
      </p:sp>
      <p:pic>
        <p:nvPicPr>
          <p:cNvPr id="10" name="Picture 4" descr="https://encrypted-tbn2.gstatic.com/images?q=tbn:ANd9GcSS5XD-fwsa5DO096u7zP5Rxt8qfokZ36djp-u5skB0qeeazcw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9380" y="0"/>
            <a:ext cx="992450" cy="992450"/>
          </a:xfrm>
          <a:prstGeom prst="rect">
            <a:avLst/>
          </a:prstGeom>
          <a:noFill/>
        </p:spPr>
      </p:pic>
      <p:sp>
        <p:nvSpPr>
          <p:cNvPr id="137220" name="AutoShape 4" descr="https://s3.amazonaws.com/ksr/assets/000/839/277/ed8e45bf086a57a613e7e9194eeb1742_large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9</Words>
  <Application>Microsoft Office PowerPoint</Application>
  <PresentationFormat>A4 Paper (210x297 mm)</PresentationFormat>
  <Paragraphs>24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Blank</vt:lpstr>
      <vt:lpstr>think-cell Slide</vt:lpstr>
      <vt:lpstr>Agenda WKS RoboCap 0. podział na grupy</vt:lpstr>
      <vt:lpstr>Plan podstawowy</vt:lpstr>
      <vt:lpstr>Zadania opcjonalne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Jacek Cząstkiewicz</cp:lastModifiedBy>
  <cp:revision>188</cp:revision>
  <dcterms:created xsi:type="dcterms:W3CDTF">2014-10-21T19:55:20Z</dcterms:created>
  <dcterms:modified xsi:type="dcterms:W3CDTF">2015-05-29T18:08:39Z</dcterms:modified>
</cp:coreProperties>
</file>